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83" r:id="rId7"/>
    <p:sldId id="1373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FDB69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7" d="100"/>
          <a:sy n="107" d="100"/>
        </p:scale>
        <p:origin x="144" y="15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3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3</a:t>
            </a:r>
            <a:r>
              <a:rPr lang="cs-CZ" b="1" dirty="0" smtClean="0"/>
              <a:t>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081846"/>
              </p:ext>
            </p:extLst>
          </p:nvPr>
        </p:nvGraphicFramePr>
        <p:xfrm>
          <a:off x="372867" y="838718"/>
          <a:ext cx="11435203" cy="4945361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upný pokles C19 hospitalizací, na JIP méně vyjádřený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 dále zatěžují pacienti post-COVID mimo evidenci ISIN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uace zvládnutelná v rámci ULK. 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stateč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nadále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3.1.2022 00:34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43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2907704"/>
              </p:ext>
            </p:extLst>
          </p:nvPr>
        </p:nvGraphicFramePr>
        <p:xfrm>
          <a:off x="332818" y="1007940"/>
          <a:ext cx="8943067" cy="5348847"/>
        </p:xfrm>
        <a:graphic>
          <a:graphicData uri="http://schemas.openxmlformats.org/drawingml/2006/table">
            <a:tbl>
              <a:tblPr/>
              <a:tblGrid>
                <a:gridCol w="1898385">
                  <a:extLst>
                    <a:ext uri="{9D8B030D-6E8A-4147-A177-3AD203B41FA5}">
                      <a16:colId xmlns:a16="http://schemas.microsoft.com/office/drawing/2014/main" val="2736616253"/>
                    </a:ext>
                  </a:extLst>
                </a:gridCol>
                <a:gridCol w="1162276">
                  <a:extLst>
                    <a:ext uri="{9D8B030D-6E8A-4147-A177-3AD203B41FA5}">
                      <a16:colId xmlns:a16="http://schemas.microsoft.com/office/drawing/2014/main" val="760123684"/>
                    </a:ext>
                  </a:extLst>
                </a:gridCol>
                <a:gridCol w="1075105">
                  <a:extLst>
                    <a:ext uri="{9D8B030D-6E8A-4147-A177-3AD203B41FA5}">
                      <a16:colId xmlns:a16="http://schemas.microsoft.com/office/drawing/2014/main" val="145128420"/>
                    </a:ext>
                  </a:extLst>
                </a:gridCol>
                <a:gridCol w="1071877">
                  <a:extLst>
                    <a:ext uri="{9D8B030D-6E8A-4147-A177-3AD203B41FA5}">
                      <a16:colId xmlns:a16="http://schemas.microsoft.com/office/drawing/2014/main" val="4001368477"/>
                    </a:ext>
                  </a:extLst>
                </a:gridCol>
                <a:gridCol w="1110618">
                  <a:extLst>
                    <a:ext uri="{9D8B030D-6E8A-4147-A177-3AD203B41FA5}">
                      <a16:colId xmlns:a16="http://schemas.microsoft.com/office/drawing/2014/main" val="3652566555"/>
                    </a:ext>
                  </a:extLst>
                </a:gridCol>
                <a:gridCol w="1113848">
                  <a:extLst>
                    <a:ext uri="{9D8B030D-6E8A-4147-A177-3AD203B41FA5}">
                      <a16:colId xmlns:a16="http://schemas.microsoft.com/office/drawing/2014/main" val="1511462104"/>
                    </a:ext>
                  </a:extLst>
                </a:gridCol>
                <a:gridCol w="1510958">
                  <a:extLst>
                    <a:ext uri="{9D8B030D-6E8A-4147-A177-3AD203B41FA5}">
                      <a16:colId xmlns:a16="http://schemas.microsoft.com/office/drawing/2014/main" val="2790619652"/>
                    </a:ext>
                  </a:extLst>
                </a:gridCol>
              </a:tblGrid>
              <a:tr h="17885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8066805"/>
                  </a:ext>
                </a:extLst>
              </a:tr>
              <a:tr h="17885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03.01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733807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1291750"/>
                  </a:ext>
                </a:extLst>
              </a:tr>
              <a:tr h="1660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5282940"/>
                  </a:ext>
                </a:extLst>
              </a:tr>
              <a:tr h="6451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26668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342167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623885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330812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569787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18057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497578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587156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579480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176257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2174054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5466273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02618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0332380"/>
                  </a:ext>
                </a:extLst>
              </a:tr>
              <a:tr h="1724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3047206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650038"/>
                  </a:ext>
                </a:extLst>
              </a:tr>
              <a:tr h="15969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2041811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834656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6221588"/>
                  </a:ext>
                </a:extLst>
              </a:tr>
              <a:tr h="15969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6811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3655941"/>
              </p:ext>
            </p:extLst>
          </p:nvPr>
        </p:nvGraphicFramePr>
        <p:xfrm>
          <a:off x="332818" y="1014843"/>
          <a:ext cx="9083743" cy="5350475"/>
        </p:xfrm>
        <a:graphic>
          <a:graphicData uri="http://schemas.openxmlformats.org/drawingml/2006/table">
            <a:tbl>
              <a:tblPr/>
              <a:tblGrid>
                <a:gridCol w="1928246">
                  <a:extLst>
                    <a:ext uri="{9D8B030D-6E8A-4147-A177-3AD203B41FA5}">
                      <a16:colId xmlns:a16="http://schemas.microsoft.com/office/drawing/2014/main" val="1017338791"/>
                    </a:ext>
                  </a:extLst>
                </a:gridCol>
                <a:gridCol w="1180559">
                  <a:extLst>
                    <a:ext uri="{9D8B030D-6E8A-4147-A177-3AD203B41FA5}">
                      <a16:colId xmlns:a16="http://schemas.microsoft.com/office/drawing/2014/main" val="3922141850"/>
                    </a:ext>
                  </a:extLst>
                </a:gridCol>
                <a:gridCol w="1092017">
                  <a:extLst>
                    <a:ext uri="{9D8B030D-6E8A-4147-A177-3AD203B41FA5}">
                      <a16:colId xmlns:a16="http://schemas.microsoft.com/office/drawing/2014/main" val="4143438321"/>
                    </a:ext>
                  </a:extLst>
                </a:gridCol>
                <a:gridCol w="1088737">
                  <a:extLst>
                    <a:ext uri="{9D8B030D-6E8A-4147-A177-3AD203B41FA5}">
                      <a16:colId xmlns:a16="http://schemas.microsoft.com/office/drawing/2014/main" val="2667078759"/>
                    </a:ext>
                  </a:extLst>
                </a:gridCol>
                <a:gridCol w="1128089">
                  <a:extLst>
                    <a:ext uri="{9D8B030D-6E8A-4147-A177-3AD203B41FA5}">
                      <a16:colId xmlns:a16="http://schemas.microsoft.com/office/drawing/2014/main" val="511886317"/>
                    </a:ext>
                  </a:extLst>
                </a:gridCol>
                <a:gridCol w="1131369">
                  <a:extLst>
                    <a:ext uri="{9D8B030D-6E8A-4147-A177-3AD203B41FA5}">
                      <a16:colId xmlns:a16="http://schemas.microsoft.com/office/drawing/2014/main" val="1311680702"/>
                    </a:ext>
                  </a:extLst>
                </a:gridCol>
                <a:gridCol w="1534726">
                  <a:extLst>
                    <a:ext uri="{9D8B030D-6E8A-4147-A177-3AD203B41FA5}">
                      <a16:colId xmlns:a16="http://schemas.microsoft.com/office/drawing/2014/main" val="3073507387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3254935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03.01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410795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6947910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916263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190377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32810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714666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07582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696612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080006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48699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898991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85450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316693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768207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91128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453907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583391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238478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9489097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7844591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9218262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4645875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58546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3.1.2022 00:34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2</a:t>
            </a:r>
            <a:r>
              <a:rPr lang="cs-CZ" sz="2000" b="1" dirty="0" smtClean="0"/>
              <a:t> 097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7757460"/>
              </p:ext>
            </p:extLst>
          </p:nvPr>
        </p:nvGraphicFramePr>
        <p:xfrm>
          <a:off x="332818" y="976828"/>
          <a:ext cx="8696883" cy="5309784"/>
        </p:xfrm>
        <a:graphic>
          <a:graphicData uri="http://schemas.openxmlformats.org/drawingml/2006/table">
            <a:tbl>
              <a:tblPr/>
              <a:tblGrid>
                <a:gridCol w="1767635">
                  <a:extLst>
                    <a:ext uri="{9D8B030D-6E8A-4147-A177-3AD203B41FA5}">
                      <a16:colId xmlns:a16="http://schemas.microsoft.com/office/drawing/2014/main" val="3053159212"/>
                    </a:ext>
                  </a:extLst>
                </a:gridCol>
                <a:gridCol w="1082226">
                  <a:extLst>
                    <a:ext uri="{9D8B030D-6E8A-4147-A177-3AD203B41FA5}">
                      <a16:colId xmlns:a16="http://schemas.microsoft.com/office/drawing/2014/main" val="2116454002"/>
                    </a:ext>
                  </a:extLst>
                </a:gridCol>
                <a:gridCol w="1001058">
                  <a:extLst>
                    <a:ext uri="{9D8B030D-6E8A-4147-A177-3AD203B41FA5}">
                      <a16:colId xmlns:a16="http://schemas.microsoft.com/office/drawing/2014/main" val="509174398"/>
                    </a:ext>
                  </a:extLst>
                </a:gridCol>
                <a:gridCol w="998052">
                  <a:extLst>
                    <a:ext uri="{9D8B030D-6E8A-4147-A177-3AD203B41FA5}">
                      <a16:colId xmlns:a16="http://schemas.microsoft.com/office/drawing/2014/main" val="512104342"/>
                    </a:ext>
                  </a:extLst>
                </a:gridCol>
                <a:gridCol w="1034128">
                  <a:extLst>
                    <a:ext uri="{9D8B030D-6E8A-4147-A177-3AD203B41FA5}">
                      <a16:colId xmlns:a16="http://schemas.microsoft.com/office/drawing/2014/main" val="391061868"/>
                    </a:ext>
                  </a:extLst>
                </a:gridCol>
                <a:gridCol w="1406892">
                  <a:extLst>
                    <a:ext uri="{9D8B030D-6E8A-4147-A177-3AD203B41FA5}">
                      <a16:colId xmlns:a16="http://schemas.microsoft.com/office/drawing/2014/main" val="4159270127"/>
                    </a:ext>
                  </a:extLst>
                </a:gridCol>
                <a:gridCol w="1406892">
                  <a:extLst>
                    <a:ext uri="{9D8B030D-6E8A-4147-A177-3AD203B41FA5}">
                      <a16:colId xmlns:a16="http://schemas.microsoft.com/office/drawing/2014/main" val="1571362313"/>
                    </a:ext>
                  </a:extLst>
                </a:gridCol>
              </a:tblGrid>
              <a:tr h="18510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1602391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03.01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3503930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126033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738314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06600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12542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231339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40974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7434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01238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91868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540658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66876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623766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32221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29695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07160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551545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527193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7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214747"/>
                  </a:ext>
                </a:extLst>
              </a:tr>
              <a:tr h="16527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2569552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881635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056774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4784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3039598" y="5792786"/>
            <a:ext cx="49664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3.1.2022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961747"/>
              </p:ext>
            </p:extLst>
          </p:nvPr>
        </p:nvGraphicFramePr>
        <p:xfrm>
          <a:off x="332819" y="1661232"/>
          <a:ext cx="5413556" cy="3800052"/>
        </p:xfrm>
        <a:graphic>
          <a:graphicData uri="http://schemas.openxmlformats.org/drawingml/2006/table">
            <a:tbl>
              <a:tblPr/>
              <a:tblGrid>
                <a:gridCol w="3378010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562053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473493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948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</a:t>
                      </a:r>
                      <a:r>
                        <a:rPr lang="cs-CZ" sz="13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Kladno,a.s</a:t>
                      </a:r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.12.2021 10:0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Kroměříž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.12.2021 8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itut klinické a experimentální medicíny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5:5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laný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7:2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8:3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ový Jičín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10:0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10:4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ská nemoc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12:0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15:1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 16:4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49913"/>
                  </a:ext>
                </a:extLst>
              </a:tr>
            </a:tbl>
          </a:graphicData>
        </a:graphic>
      </p:graphicFrame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138105"/>
              </p:ext>
            </p:extLst>
          </p:nvPr>
        </p:nvGraphicFramePr>
        <p:xfrm>
          <a:off x="6008340" y="1661232"/>
          <a:ext cx="5753354" cy="3449532"/>
        </p:xfrm>
        <a:graphic>
          <a:graphicData uri="http://schemas.openxmlformats.org/drawingml/2006/table">
            <a:tbl>
              <a:tblPr/>
              <a:tblGrid>
                <a:gridCol w="3590043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597331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65980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948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 Náchod a.s., Nemocnice Rychnov nad Kněžnou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7:0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alašské Meziříčí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7:5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8:0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České Budějov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9:4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Havlíčkův Brod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10:0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lačova nemocnice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20:1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01.2022 10:1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TGM Hodonín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01.2022 10:2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Jičín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01.2022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:31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1350267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3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,3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96105" y="3164681"/>
            <a:ext cx="1095370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31.12. bylo 162 nově přijatých C+ pacientů.</a:t>
            </a: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V krajích je stále (omezený personál a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. </a:t>
            </a: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MSK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– zlepšení situace v oblasti operativy, KVK a ZLK – zlepšení personální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situace.</a:t>
            </a:r>
          </a:p>
          <a:p>
            <a:pPr marL="342900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Po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svátečních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dnech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nejsou opět data za všechna ZZ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v DIP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(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19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x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 ani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v </a:t>
            </a:r>
            <a:r>
              <a:rPr lang="cs-CZ" dirty="0" err="1">
                <a:solidFill>
                  <a:prstClr val="black"/>
                </a:solidFill>
                <a:latin typeface="Segoe UI"/>
              </a:rPr>
              <a:t>ISINu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aktualizovaná, a tím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nejsou příliš reprezentativní. </a:t>
            </a: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 Lůžka jsou, ale stále obsazena post-COVID pac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354406"/>
              </p:ext>
            </p:extLst>
          </p:nvPr>
        </p:nvGraphicFramePr>
        <p:xfrm>
          <a:off x="332646" y="832094"/>
          <a:ext cx="11405086" cy="520604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</a:t>
                      </a: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 stabilizuj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Z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MP nemá problém se závoz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nadále do začátku ledna zastaven, onkologická aj. neodkladná operativa bez omezení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pozvolna zlepšuje, standardní lůžka s dostatečnou kapacitou, více riziková stran kapacit je intenzivní péče, kde zůstává dlouhodobě mnoho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 s omezením akutní kapaci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190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929223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pokles zátěže, kapacity t.č. mírně redukovány, do příštího týdne navýšení elektiv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činnnosti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00902"/>
              </p:ext>
            </p:extLst>
          </p:nvPr>
        </p:nvGraphicFramePr>
        <p:xfrm>
          <a:off x="279292" y="797060"/>
          <a:ext cx="11587543" cy="5711740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relativně stabilní, snižuje se počet pac. na standardních odd., v IP postupně taktéž v porovnání s předchozím týdnem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451028"/>
              </p:ext>
            </p:extLst>
          </p:nvPr>
        </p:nvGraphicFramePr>
        <p:xfrm>
          <a:off x="323851" y="638008"/>
          <a:ext cx="11519385" cy="5517643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73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873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lepšení situace v nemocnici KV a Chebu Nicméně stále ponechán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án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a IP tak, aby mohla být výpomoc v rámci kraje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2911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715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423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vyčerpány lidské i materiální zdro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nes plná nemocnice Nové Město n/M. hrozí překlad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zatím v rámci krajských nemocnic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842</TotalTime>
  <Words>2100</Words>
  <Application>Microsoft Office PowerPoint</Application>
  <PresentationFormat>Širokoúhlá obrazovka</PresentationFormat>
  <Paragraphs>581</Paragraphs>
  <Slides>10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800</cp:revision>
  <cp:lastPrinted>2020-10-20T04:21:56Z</cp:lastPrinted>
  <dcterms:created xsi:type="dcterms:W3CDTF">2020-07-15T10:33:32Z</dcterms:created>
  <dcterms:modified xsi:type="dcterms:W3CDTF">2022-01-03T12:23:38Z</dcterms:modified>
</cp:coreProperties>
</file>